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744" r:id="rId5"/>
    <p:sldMasterId id="2147483828" r:id="rId6"/>
    <p:sldMasterId id="2147483840" r:id="rId7"/>
    <p:sldMasterId id="2147483871" r:id="rId8"/>
  </p:sldMasterIdLst>
  <p:notesMasterIdLst>
    <p:notesMasterId r:id="rId15"/>
  </p:notesMasterIdLst>
  <p:handoutMasterIdLst>
    <p:handoutMasterId r:id="rId16"/>
  </p:handoutMasterIdLst>
  <p:sldIdLst>
    <p:sldId id="618" r:id="rId9"/>
    <p:sldId id="487" r:id="rId10"/>
    <p:sldId id="488" r:id="rId11"/>
    <p:sldId id="489" r:id="rId12"/>
    <p:sldId id="490" r:id="rId13"/>
    <p:sldId id="491" r:id="rId14"/>
  </p:sldIdLst>
  <p:sldSz cx="12192000" cy="6858000"/>
  <p:notesSz cx="6797675" cy="992663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793" userDrawn="1">
          <p15:clr>
            <a:srgbClr val="A4A3A4"/>
          </p15:clr>
        </p15:guide>
        <p15:guide id="9" pos="5858" userDrawn="1">
          <p15:clr>
            <a:srgbClr val="A4A3A4"/>
          </p15:clr>
        </p15:guide>
        <p15:guide id="10" pos="6176" userDrawn="1">
          <p15:clr>
            <a:srgbClr val="A4A3A4"/>
          </p15:clr>
        </p15:guide>
        <p15:guide id="12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Niels Rabe" initials="NR" lastIdx="1" clrIdx="6">
    <p:extLst>
      <p:ext uri="{19B8F6BF-5375-455C-9EA6-DF929625EA0E}">
        <p15:presenceInfo xmlns:p15="http://schemas.microsoft.com/office/powerpoint/2012/main" userId="Niels Rabe" providerId="None"/>
      </p:ext>
    </p:extLst>
  </p:cmAuthor>
  <p:cmAuthor id="1" name="Rabinovich, Elina" initials="ER" lastIdx="38" clrIdx="0"/>
  <p:cmAuthor id="2" name="Valley, Chris (US - Parsippany)" initials="" lastIdx="0" clrIdx="1"/>
  <p:cmAuthor id="3" name="Henderson , Turi (US - Seattle)" initials="" lastIdx="4" clrIdx="2"/>
  <p:cmAuthor id="4" name="Volk, Stefan (DE - Muenchen)" initials="VS(-M" lastIdx="27" clrIdx="3">
    <p:extLst>
      <p:ext uri="{19B8F6BF-5375-455C-9EA6-DF929625EA0E}">
        <p15:presenceInfo xmlns:p15="http://schemas.microsoft.com/office/powerpoint/2012/main" userId="S-1-5-21-2094927150-201071529-617630493-1045605" providerId="AD"/>
      </p:ext>
    </p:extLst>
  </p:cmAuthor>
  <p:cmAuthor id="5" name="Rabe, Niels (DE - Duesseldorf)" initials="RN" lastIdx="21" clrIdx="4">
    <p:extLst>
      <p:ext uri="{19B8F6BF-5375-455C-9EA6-DF929625EA0E}">
        <p15:presenceInfo xmlns:p15="http://schemas.microsoft.com/office/powerpoint/2012/main" userId="Rabe, Niels (DE - Duesseldorf)" providerId="None"/>
      </p:ext>
    </p:extLst>
  </p:cmAuthor>
  <p:cmAuthor id="6" name="Wilson, Joshua (DE - Berlin)" initials="WJ(-B" lastIdx="111" clrIdx="5">
    <p:extLst>
      <p:ext uri="{19B8F6BF-5375-455C-9EA6-DF929625EA0E}">
        <p15:presenceInfo xmlns:p15="http://schemas.microsoft.com/office/powerpoint/2012/main" userId="S-1-5-21-2094927150-201071529-617630493-9796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BE24"/>
    <a:srgbClr val="1AA4BE"/>
    <a:srgbClr val="91CA2A"/>
    <a:srgbClr val="D0C899"/>
    <a:srgbClr val="F347B6"/>
    <a:srgbClr val="BBEDF1"/>
    <a:srgbClr val="9DA7B1"/>
    <a:srgbClr val="FFFF00"/>
    <a:srgbClr val="FFFFFF"/>
    <a:srgbClr val="1764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904" autoAdjust="0"/>
    <p:restoredTop sz="73763" autoAdjust="0"/>
  </p:normalViewPr>
  <p:slideViewPr>
    <p:cSldViewPr snapToGrid="0" snapToObjects="1" showGuides="1">
      <p:cViewPr varScale="1">
        <p:scale>
          <a:sx n="86" d="100"/>
          <a:sy n="86" d="100"/>
        </p:scale>
        <p:origin x="979" y="58"/>
      </p:cViewPr>
      <p:guideLst>
        <p:guide pos="4793"/>
        <p:guide pos="5858"/>
        <p:guide pos="6176"/>
        <p:guide orient="horz" pos="4042"/>
      </p:guideLst>
    </p:cSldViewPr>
  </p:slideViewPr>
  <p:outlineViewPr>
    <p:cViewPr>
      <p:scale>
        <a:sx n="33" d="100"/>
        <a:sy n="33" d="100"/>
      </p:scale>
      <p:origin x="0" y="6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336"/>
    </p:cViewPr>
  </p:sorterViewPr>
  <p:notesViewPr>
    <p:cSldViewPr snapToGrid="0" snapToObjects="1">
      <p:cViewPr varScale="1">
        <p:scale>
          <a:sx n="62" d="100"/>
          <a:sy n="62" d="100"/>
        </p:scale>
        <p:origin x="3354" y="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70-4DA2-9A88-5B76CDAF32E2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70-4DA2-9A88-5B76CDAF32E2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70-4DA2-9A88-5B76CDAF32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770-4DA2-9A88-5B76CDAF32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770-4DA2-9A88-5B76CDAF32E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770-4DA2-9A88-5B76CDAF32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72152"/>
        <c:axId val="575161568"/>
      </c:lineChart>
      <c:catAx>
        <c:axId val="57517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61568"/>
        <c:crosses val="autoZero"/>
        <c:auto val="1"/>
        <c:lblAlgn val="ctr"/>
        <c:lblOffset val="100"/>
        <c:noMultiLvlLbl val="0"/>
      </c:catAx>
      <c:valAx>
        <c:axId val="575161568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2152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B8-49E8-AB57-4A6472A46AF6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B8-49E8-AB57-4A6472A46AF6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C0B8-49E8-AB57-4A6472A46AF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0B8-49E8-AB57-4A6472A46AF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0B8-49E8-AB57-4A6472A46AF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0B8-49E8-AB57-4A6472A46A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72544"/>
        <c:axId val="575170192"/>
      </c:lineChart>
      <c:catAx>
        <c:axId val="575172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0192"/>
        <c:crosses val="autoZero"/>
        <c:auto val="1"/>
        <c:lblAlgn val="ctr"/>
        <c:lblOffset val="100"/>
        <c:noMultiLvlLbl val="0"/>
      </c:catAx>
      <c:valAx>
        <c:axId val="57517019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254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DA4D-4A9F-9539-68719A217AA4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DA4D-4A9F-9539-68719A217AA4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DA4D-4A9F-9539-68719A217A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A4D-4A9F-9539-68719A217A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A4D-4A9F-9539-68719A217A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4D-4A9F-9539-68719A217A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66664"/>
        <c:axId val="575170976"/>
      </c:lineChart>
      <c:catAx>
        <c:axId val="575166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0976"/>
        <c:crosses val="autoZero"/>
        <c:auto val="1"/>
        <c:lblAlgn val="ctr"/>
        <c:lblOffset val="100"/>
        <c:noMultiLvlLbl val="0"/>
      </c:catAx>
      <c:valAx>
        <c:axId val="575170976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6666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FC-494A-9904-AB348E9F4E61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FC-494A-9904-AB348E9F4E61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FC-494A-9904-AB348E9F4E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CFC-494A-9904-AB348E9F4E6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CFC-494A-9904-AB348E9F4E6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6CFC-494A-9904-AB348E9F4E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71368"/>
        <c:axId val="575171760"/>
      </c:lineChart>
      <c:catAx>
        <c:axId val="5751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1760"/>
        <c:crosses val="autoZero"/>
        <c:auto val="1"/>
        <c:lblAlgn val="ctr"/>
        <c:lblOffset val="100"/>
        <c:noMultiLvlLbl val="0"/>
      </c:catAx>
      <c:valAx>
        <c:axId val="575171760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1368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8C-400E-8670-0F611C386F97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8C-400E-8670-0F611C386F97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F48C-400E-8670-0F611C386F9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48C-400E-8670-0F611C386F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48C-400E-8670-0F611C386F9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48C-400E-8670-0F611C386F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61960"/>
        <c:axId val="575163528"/>
      </c:lineChart>
      <c:catAx>
        <c:axId val="575161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63528"/>
        <c:crosses val="autoZero"/>
        <c:auto val="1"/>
        <c:lblAlgn val="ctr"/>
        <c:lblOffset val="100"/>
        <c:noMultiLvlLbl val="0"/>
      </c:catAx>
      <c:valAx>
        <c:axId val="575163528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61960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0C-42AD-9088-3CBA0B5EF070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0C-42AD-9088-3CBA0B5EF070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F30C-42AD-9088-3CBA0B5EF0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0</c:v>
                </c:pt>
                <c:pt idx="1">
                  <c:v>18</c:v>
                </c:pt>
                <c:pt idx="2">
                  <c:v>16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6</c:v>
                </c:pt>
                <c:pt idx="8">
                  <c:v>4</c:v>
                </c:pt>
                <c:pt idx="9">
                  <c:v>2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30C-42AD-9088-3CBA0B5EF0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30C-42AD-9088-3CBA0B5EF0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30C-42AD-9088-3CBA0B5EF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5179208"/>
        <c:axId val="575181952"/>
      </c:lineChart>
      <c:catAx>
        <c:axId val="575179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81952"/>
        <c:crosses val="autoZero"/>
        <c:auto val="1"/>
        <c:lblAlgn val="ctr"/>
        <c:lblOffset val="100"/>
        <c:noMultiLvlLbl val="0"/>
      </c:catAx>
      <c:valAx>
        <c:axId val="575181952"/>
        <c:scaling>
          <c:orientation val="minMax"/>
          <c:max val="2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5179208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D91A53-D0F5-4363-8EAB-5E07FE46D49F}" type="datetimeFigureOut">
              <a:rPr lang="en-GB" smtClean="0"/>
              <a:t>15/08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5EB357-AD1E-49C1-8685-6CDC64FB89A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979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E03A04-0626-44D4-B6D6-43B9D98023FD}" type="datetimeFigureOut">
              <a:rPr lang="en-US" smtClean="0"/>
              <a:t>8/1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A34052-12FB-4B01-8A2E-D87AD7371E9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21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65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52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402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967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2369127"/>
            <a:ext cx="11071907" cy="380783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822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883" y="1122363"/>
            <a:ext cx="10212330" cy="23876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883" y="3521695"/>
            <a:ext cx="10212330" cy="46569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04883" y="3995716"/>
            <a:ext cx="10212388" cy="4032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>
                <a:solidFill>
                  <a:schemeClr val="accent5"/>
                </a:solidFill>
              </a:defRPr>
            </a:lvl2pPr>
            <a:lvl3pPr marL="914400" indent="0">
              <a:buNone/>
              <a:defRPr>
                <a:solidFill>
                  <a:schemeClr val="accent5"/>
                </a:solidFill>
              </a:defRPr>
            </a:lvl3pPr>
            <a:lvl4pPr marL="1371600" indent="0">
              <a:buNone/>
              <a:defRPr>
                <a:solidFill>
                  <a:schemeClr val="accent5"/>
                </a:solidFill>
              </a:defRPr>
            </a:lvl4pPr>
            <a:lvl5pPr marL="18288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0223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2369127"/>
            <a:ext cx="11071907" cy="380783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241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1700784"/>
            <a:ext cx="11071907" cy="4352544"/>
          </a:xfrm>
        </p:spPr>
        <p:txBody>
          <a:bodyPr/>
          <a:lstStyle>
            <a:lvl1pPr marL="0" indent="0">
              <a:buClr>
                <a:schemeClr val="accent5"/>
              </a:buClr>
              <a:buNone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915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679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2026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8430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38238"/>
            <a:ext cx="10972800" cy="2852737"/>
          </a:xfrm>
        </p:spPr>
        <p:txBody>
          <a:bodyPr anchor="b"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3990975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E7E7E8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9808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7819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363538" y="1930400"/>
            <a:ext cx="3446462" cy="482600"/>
          </a:xfrm>
          <a:prstGeom prst="rect">
            <a:avLst/>
          </a:prstGeom>
        </p:spPr>
        <p:txBody>
          <a:bodyPr vert="horz" lIns="0" tIns="0" bIns="0"/>
          <a:lstStyle>
            <a:lvl1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200" b="0" i="0" kern="1200" cap="all" noProof="0" dirty="0">
                <a:solidFill>
                  <a:schemeClr val="bg1"/>
                </a:solidFill>
                <a:latin typeface="Knockout HTF27-JuniorBantamwt"/>
                <a:ea typeface="ヒラギノ角ゴ ProN W6"/>
                <a:cs typeface="Knockout HTF27-JuniorBantamw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-5 WORD TAGLINE HERE.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364597" y="26670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ssue</a:t>
            </a:r>
          </a:p>
        </p:txBody>
      </p:sp>
      <p:sp>
        <p:nvSpPr>
          <p:cNvPr id="12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64069" y="2887134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3" hasCustomPrompt="1"/>
          </p:nvPr>
        </p:nvSpPr>
        <p:spPr>
          <a:xfrm>
            <a:off x="364597" y="40132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Solution</a:t>
            </a:r>
          </a:p>
        </p:txBody>
      </p:sp>
      <p:sp>
        <p:nvSpPr>
          <p:cNvPr id="14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64069" y="4216400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364597" y="5350933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mpact</a:t>
            </a:r>
          </a:p>
        </p:txBody>
      </p:sp>
      <p:sp>
        <p:nvSpPr>
          <p:cNvPr id="16" name="Content Placeholder 35"/>
          <p:cNvSpPr>
            <a:spLocks noGrp="1"/>
          </p:cNvSpPr>
          <p:nvPr>
            <p:ph sz="quarter" idx="16" hasCustomPrompt="1"/>
          </p:nvPr>
        </p:nvSpPr>
        <p:spPr>
          <a:xfrm>
            <a:off x="364069" y="5554133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</p:spTree>
    <p:extLst>
      <p:ext uri="{BB962C8B-B14F-4D97-AF65-F5344CB8AC3E}">
        <p14:creationId xmlns:p14="http://schemas.microsoft.com/office/powerpoint/2010/main" val="17025078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558801" y="0"/>
            <a:ext cx="5520267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5354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502402" y="0"/>
            <a:ext cx="568959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660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883" y="1122363"/>
            <a:ext cx="10212330" cy="23876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883" y="3521695"/>
            <a:ext cx="10212330" cy="46569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04883" y="3995716"/>
            <a:ext cx="10212388" cy="4032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>
                <a:solidFill>
                  <a:schemeClr val="accent5"/>
                </a:solidFill>
              </a:defRPr>
            </a:lvl2pPr>
            <a:lvl3pPr marL="914400" indent="0">
              <a:buNone/>
              <a:defRPr>
                <a:solidFill>
                  <a:schemeClr val="accent5"/>
                </a:solidFill>
              </a:defRPr>
            </a:lvl3pPr>
            <a:lvl4pPr marL="1371600" indent="0">
              <a:buNone/>
              <a:defRPr>
                <a:solidFill>
                  <a:schemeClr val="accent5"/>
                </a:solidFill>
              </a:defRPr>
            </a:lvl4pPr>
            <a:lvl5pPr marL="18288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50153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558800" y="0"/>
            <a:ext cx="5532719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19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1551400" y="848667"/>
            <a:ext cx="2995200" cy="2995200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19050">
            <a:solidFill>
              <a:schemeClr val="bg1"/>
            </a:solidFill>
          </a:ln>
        </p:spPr>
        <p:txBody>
          <a:bodyPr wrap="square" tIns="1548000" bIns="396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7647400" y="848667"/>
            <a:ext cx="2995200" cy="2995200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19050">
            <a:solidFill>
              <a:schemeClr val="bg1"/>
            </a:solidFill>
          </a:ln>
        </p:spPr>
        <p:txBody>
          <a:bodyPr wrap="square" tIns="1548000" bIns="396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58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754744" y="774095"/>
            <a:ext cx="4586515" cy="29028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6850741" y="774095"/>
            <a:ext cx="4586515" cy="29028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220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1037561" y="1020629"/>
            <a:ext cx="2995200" cy="2995200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19050">
            <a:noFill/>
          </a:ln>
        </p:spPr>
        <p:txBody>
          <a:bodyPr wrap="square" tIns="1548000" bIns="324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4598400" y="1020629"/>
            <a:ext cx="2995200" cy="2995200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19050">
            <a:noFill/>
          </a:ln>
        </p:spPr>
        <p:txBody>
          <a:bodyPr wrap="square" tIns="1548000" bIns="324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8159239" y="1020629"/>
            <a:ext cx="2995200" cy="2995200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19050">
            <a:noFill/>
          </a:ln>
        </p:spPr>
        <p:txBody>
          <a:bodyPr wrap="square" tIns="1548000" bIns="324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775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41868" y="1219200"/>
            <a:ext cx="3471333" cy="32850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4360334" y="1219200"/>
            <a:ext cx="3471333" cy="32850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8178800" y="1219200"/>
            <a:ext cx="3471333" cy="32850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587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585824" y="1517227"/>
            <a:ext cx="2384213" cy="2384213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3473567" y="1517227"/>
            <a:ext cx="2384213" cy="2384213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6361311" y="1517227"/>
            <a:ext cx="2384213" cy="2384213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9249054" y="1517227"/>
            <a:ext cx="2384213" cy="2384213"/>
          </a:xfrm>
          <a:prstGeom prst="ellipse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802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585824" y="1517227"/>
            <a:ext cx="2384213" cy="238421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3473567" y="1517227"/>
            <a:ext cx="2384213" cy="238421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6361311" y="1517227"/>
            <a:ext cx="2384213" cy="238421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9249054" y="1517227"/>
            <a:ext cx="2384213" cy="238421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38100">
            <a:solidFill>
              <a:schemeClr val="bg1"/>
            </a:solidFill>
          </a:ln>
        </p:spPr>
        <p:txBody>
          <a:bodyPr wrap="square" tIns="1548000" bIns="612000" anchor="ctr"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774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5080002" y="0"/>
            <a:ext cx="3522133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8669866" y="0"/>
            <a:ext cx="3522133" cy="33866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8669866" y="3471333"/>
            <a:ext cx="3522133" cy="33866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980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3589864" y="0"/>
            <a:ext cx="3522133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522133" cy="33866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0" y="3471333"/>
            <a:ext cx="3522133" cy="33866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4942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129867" y="635000"/>
            <a:ext cx="55541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08000" y="3496733"/>
            <a:ext cx="55541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193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2369127"/>
            <a:ext cx="11071907" cy="380783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4694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6134667" y="3496733"/>
            <a:ext cx="55493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6134667" y="635000"/>
            <a:ext cx="55493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508000" y="3496733"/>
            <a:ext cx="55493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1550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08000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3326133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129867" y="635000"/>
            <a:ext cx="55541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29867" y="3496733"/>
            <a:ext cx="55541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3548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08000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3321333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8948000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134667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508000" y="3496733"/>
            <a:ext cx="55493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8989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08000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3321333" y="635000"/>
            <a:ext cx="273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134667" y="635000"/>
            <a:ext cx="5549333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508000" y="3496733"/>
            <a:ext cx="11176000" cy="272626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3608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585410" y="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3769303" y="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585410" y="460200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0"/>
          </p:nvPr>
        </p:nvSpPr>
        <p:spPr>
          <a:xfrm>
            <a:off x="3769303" y="460200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585410" y="230100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22"/>
          </p:nvPr>
        </p:nvSpPr>
        <p:spPr>
          <a:xfrm>
            <a:off x="3769303" y="2301000"/>
            <a:ext cx="3149173" cy="2256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602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523625" y="307664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8026399" y="307664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4275012" y="307664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1"/>
          <p:cNvSpPr>
            <a:spLocks noGrp="1"/>
          </p:cNvSpPr>
          <p:nvPr>
            <p:ph type="pic" sz="quarter" idx="20"/>
          </p:nvPr>
        </p:nvSpPr>
        <p:spPr>
          <a:xfrm>
            <a:off x="523625" y="4507131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8026399" y="4507131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22"/>
          </p:nvPr>
        </p:nvSpPr>
        <p:spPr>
          <a:xfrm>
            <a:off x="4275012" y="4507131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523625" y="2407398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6" name="Picture Placeholder 11"/>
          <p:cNvSpPr>
            <a:spLocks noGrp="1"/>
          </p:cNvSpPr>
          <p:nvPr>
            <p:ph type="pic" sz="quarter" idx="24"/>
          </p:nvPr>
        </p:nvSpPr>
        <p:spPr>
          <a:xfrm>
            <a:off x="4275012" y="2407398"/>
            <a:ext cx="3641976" cy="204320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04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4028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524933" y="273276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20"/>
          </p:nvPr>
        </p:nvSpPr>
        <p:spPr>
          <a:xfrm>
            <a:off x="8939357" y="273276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21"/>
          </p:nvPr>
        </p:nvSpPr>
        <p:spPr>
          <a:xfrm>
            <a:off x="8939357" y="4495321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6" name="Picture Placeholder 11"/>
          <p:cNvSpPr>
            <a:spLocks noGrp="1"/>
          </p:cNvSpPr>
          <p:nvPr>
            <p:ph type="pic" sz="quarter" idx="22"/>
          </p:nvPr>
        </p:nvSpPr>
        <p:spPr>
          <a:xfrm>
            <a:off x="523624" y="4495321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7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523624" y="2384299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24"/>
          </p:nvPr>
        </p:nvSpPr>
        <p:spPr>
          <a:xfrm>
            <a:off x="3329741" y="273276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9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6134549" y="273276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0" name="Picture Placeholder 11"/>
          <p:cNvSpPr>
            <a:spLocks noGrp="1"/>
          </p:cNvSpPr>
          <p:nvPr>
            <p:ph type="pic" sz="quarter" idx="26"/>
          </p:nvPr>
        </p:nvSpPr>
        <p:spPr>
          <a:xfrm>
            <a:off x="6134112" y="4495321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1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3328868" y="4495321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2" name="Picture Placeholder 11"/>
          <p:cNvSpPr>
            <a:spLocks noGrp="1"/>
          </p:cNvSpPr>
          <p:nvPr>
            <p:ph type="pic" sz="quarter" idx="28"/>
          </p:nvPr>
        </p:nvSpPr>
        <p:spPr>
          <a:xfrm>
            <a:off x="8939357" y="2384299"/>
            <a:ext cx="2726400" cy="208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bIns="576000" anchor="ctr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901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de-DE" sz="4200" dirty="0">
              <a:solidFill>
                <a:srgbClr val="FFFFFF"/>
              </a:solidFill>
              <a:sym typeface="Roboto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32891" y="266701"/>
            <a:ext cx="11326220" cy="728153"/>
          </a:xfrm>
          <a:prstGeom prst="rect">
            <a:avLst/>
          </a:prstGeom>
        </p:spPr>
        <p:txBody>
          <a:bodyPr anchor="ctr"/>
          <a:lstStyle>
            <a:lvl1pPr algn="ctr">
              <a:defRPr sz="4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891" y="1010728"/>
            <a:ext cx="11326220" cy="36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733602" y="2246431"/>
            <a:ext cx="4736599" cy="266230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275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de-DE" sz="4200" dirty="0">
              <a:solidFill>
                <a:srgbClr val="FFFFFF"/>
              </a:solidFill>
              <a:sym typeface="Roboto"/>
            </a:endParaRP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7125224" y="0"/>
            <a:ext cx="5066777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1224668" y="2246431"/>
            <a:ext cx="4736599" cy="266230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32891" y="266701"/>
            <a:ext cx="11326220" cy="728153"/>
          </a:xfrm>
          <a:prstGeom prst="rect">
            <a:avLst/>
          </a:prstGeom>
        </p:spPr>
        <p:txBody>
          <a:bodyPr anchor="ctr"/>
          <a:lstStyle>
            <a:lvl1pPr algn="l">
              <a:defRPr sz="4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891" y="1010728"/>
            <a:ext cx="11326220" cy="36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053524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1334676" y="1869503"/>
            <a:ext cx="4656715" cy="289212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220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1700784"/>
            <a:ext cx="11071907" cy="4352544"/>
          </a:xfrm>
        </p:spPr>
        <p:txBody>
          <a:bodyPr/>
          <a:lstStyle>
            <a:lvl1pPr marL="0" indent="0">
              <a:buClr>
                <a:schemeClr val="accent5"/>
              </a:buClr>
              <a:buNone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23883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6512068" y="1301015"/>
            <a:ext cx="6392333" cy="394639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9892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475308" y="0"/>
            <a:ext cx="5716693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5269905" y="1426275"/>
            <a:ext cx="2443936" cy="398524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1841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1" cy="2844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4874032" y="1426275"/>
            <a:ext cx="2443936" cy="398524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1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3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de-DE" sz="4200" dirty="0">
              <a:solidFill>
                <a:srgbClr val="FFFFFF"/>
              </a:solidFill>
              <a:sym typeface="Roboto"/>
            </a:endParaRP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8241935" y="2296501"/>
            <a:ext cx="2893232" cy="360064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2891" y="266701"/>
            <a:ext cx="11326220" cy="728153"/>
          </a:xfrm>
          <a:prstGeom prst="rect">
            <a:avLst/>
          </a:prstGeom>
        </p:spPr>
        <p:txBody>
          <a:bodyPr anchor="ctr"/>
          <a:lstStyle>
            <a:lvl1pPr algn="ctr">
              <a:defRPr sz="4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891" y="1010728"/>
            <a:ext cx="11326220" cy="36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956929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 4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de-DE" sz="4200" dirty="0">
              <a:solidFill>
                <a:srgbClr val="FFFFFF"/>
              </a:solidFill>
              <a:sym typeface="Roboto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2891" y="266701"/>
            <a:ext cx="11326220" cy="728153"/>
          </a:xfrm>
          <a:prstGeom prst="rect">
            <a:avLst/>
          </a:prstGeom>
        </p:spPr>
        <p:txBody>
          <a:bodyPr anchor="ctr"/>
          <a:lstStyle>
            <a:lvl1pPr algn="l">
              <a:defRPr sz="4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891" y="1010728"/>
            <a:ext cx="11326220" cy="36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Edit Master </a:t>
            </a:r>
            <a:r>
              <a:rPr lang="de-DE" dirty="0" err="1"/>
              <a:t>Subtitle</a:t>
            </a:r>
            <a:r>
              <a:rPr lang="de-DE" dirty="0"/>
              <a:t> Sty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1265399" y="2296501"/>
            <a:ext cx="2893232" cy="360064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tIns="1548000" anchor="ctr">
            <a:no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1368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883" y="1122363"/>
            <a:ext cx="10212330" cy="23876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883" y="3521695"/>
            <a:ext cx="10212330" cy="46569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04883" y="3995716"/>
            <a:ext cx="10212388" cy="4032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>
                <a:solidFill>
                  <a:schemeClr val="accent5"/>
                </a:solidFill>
              </a:defRPr>
            </a:lvl2pPr>
            <a:lvl3pPr marL="914400" indent="0">
              <a:buNone/>
              <a:defRPr>
                <a:solidFill>
                  <a:schemeClr val="accent5"/>
                </a:solidFill>
              </a:defRPr>
            </a:lvl3pPr>
            <a:lvl4pPr marL="1371600" indent="0">
              <a:buNone/>
              <a:defRPr>
                <a:solidFill>
                  <a:schemeClr val="accent5"/>
                </a:solidFill>
              </a:defRPr>
            </a:lvl4pPr>
            <a:lvl5pPr marL="18288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649791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2369127"/>
            <a:ext cx="11071907" cy="380783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4236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493" y="1700784"/>
            <a:ext cx="11071907" cy="4352544"/>
          </a:xfrm>
        </p:spPr>
        <p:txBody>
          <a:bodyPr/>
          <a:lstStyle>
            <a:lvl1pPr marL="0" indent="0">
              <a:buClr>
                <a:schemeClr val="accent5"/>
              </a:buClr>
              <a:buNone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1213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8490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0213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628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945419"/>
            <a:ext cx="11071225" cy="6477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38777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38238"/>
            <a:ext cx="10972800" cy="2852737"/>
          </a:xfrm>
        </p:spPr>
        <p:txBody>
          <a:bodyPr anchor="b"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3990975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E7E7E8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6731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1930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363538" y="1930400"/>
            <a:ext cx="3446462" cy="482600"/>
          </a:xfrm>
          <a:prstGeom prst="rect">
            <a:avLst/>
          </a:prstGeom>
        </p:spPr>
        <p:txBody>
          <a:bodyPr vert="horz" lIns="0" tIns="0" bIns="0"/>
          <a:lstStyle>
            <a:lvl1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200" b="0" i="0" kern="1200" cap="all" noProof="0" dirty="0">
                <a:solidFill>
                  <a:schemeClr val="bg1"/>
                </a:solidFill>
                <a:latin typeface="Knockout HTF27-JuniorBantamwt"/>
                <a:ea typeface="ヒラギノ角ゴ ProN W6"/>
                <a:cs typeface="Knockout HTF27-JuniorBantamw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-5 WORD TAGLINE HERE.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364597" y="26670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ssue</a:t>
            </a:r>
          </a:p>
        </p:txBody>
      </p:sp>
      <p:sp>
        <p:nvSpPr>
          <p:cNvPr id="12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64069" y="2887134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3" hasCustomPrompt="1"/>
          </p:nvPr>
        </p:nvSpPr>
        <p:spPr>
          <a:xfrm>
            <a:off x="364597" y="40132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Solution</a:t>
            </a:r>
          </a:p>
        </p:txBody>
      </p:sp>
      <p:sp>
        <p:nvSpPr>
          <p:cNvPr id="14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64069" y="4216400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364597" y="5350933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mpact</a:t>
            </a:r>
          </a:p>
        </p:txBody>
      </p:sp>
      <p:sp>
        <p:nvSpPr>
          <p:cNvPr id="16" name="Content Placeholder 35"/>
          <p:cNvSpPr>
            <a:spLocks noGrp="1"/>
          </p:cNvSpPr>
          <p:nvPr>
            <p:ph sz="quarter" idx="16" hasCustomPrompt="1"/>
          </p:nvPr>
        </p:nvSpPr>
        <p:spPr>
          <a:xfrm>
            <a:off x="364069" y="5554133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</p:spTree>
    <p:extLst>
      <p:ext uri="{BB962C8B-B14F-4D97-AF65-F5344CB8AC3E}">
        <p14:creationId xmlns:p14="http://schemas.microsoft.com/office/powerpoint/2010/main" val="27342206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859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38238"/>
            <a:ext cx="10972800" cy="2852737"/>
          </a:xfrm>
        </p:spPr>
        <p:txBody>
          <a:bodyPr anchor="b"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3990975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E7E7E8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423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3198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363538" y="1930400"/>
            <a:ext cx="3446462" cy="482600"/>
          </a:xfrm>
          <a:prstGeom prst="rect">
            <a:avLst/>
          </a:prstGeom>
        </p:spPr>
        <p:txBody>
          <a:bodyPr vert="horz" lIns="0" tIns="0" bIns="0"/>
          <a:lstStyle>
            <a:lvl1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200" b="0" i="0" kern="1200" cap="all" noProof="0" dirty="0">
                <a:solidFill>
                  <a:schemeClr val="bg1"/>
                </a:solidFill>
                <a:latin typeface="Knockout HTF27-JuniorBantamwt"/>
                <a:ea typeface="ヒラギノ角ゴ ProN W6"/>
                <a:cs typeface="Knockout HTF27-JuniorBantamw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-5 WORD TAGLINE HERE.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364597" y="26670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ssue</a:t>
            </a:r>
          </a:p>
        </p:txBody>
      </p:sp>
      <p:sp>
        <p:nvSpPr>
          <p:cNvPr id="12" name="Content Placeholder 35"/>
          <p:cNvSpPr>
            <a:spLocks noGrp="1"/>
          </p:cNvSpPr>
          <p:nvPr>
            <p:ph sz="quarter" idx="12" hasCustomPrompt="1"/>
          </p:nvPr>
        </p:nvSpPr>
        <p:spPr>
          <a:xfrm>
            <a:off x="364069" y="2887134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3" hasCustomPrompt="1"/>
          </p:nvPr>
        </p:nvSpPr>
        <p:spPr>
          <a:xfrm>
            <a:off x="364597" y="4013200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Solution</a:t>
            </a:r>
          </a:p>
        </p:txBody>
      </p:sp>
      <p:sp>
        <p:nvSpPr>
          <p:cNvPr id="14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364069" y="4216400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  <p:sp>
        <p:nvSpPr>
          <p:cNvPr id="15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364597" y="5350933"/>
            <a:ext cx="3462337" cy="19473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buFontTx/>
              <a:buNone/>
              <a:defRPr lang="en-US" sz="1200" dirty="0">
                <a:solidFill>
                  <a:srgbClr val="92D400"/>
                </a:solidFill>
                <a:latin typeface="Frutiger Next Pro Medium"/>
                <a:cs typeface="Frutiger Next Pro Medium"/>
              </a:defRPr>
            </a:lvl1pPr>
          </a:lstStyle>
          <a:p>
            <a:pPr marL="0" lvl="0" indent="0">
              <a:lnSpc>
                <a:spcPct val="90000"/>
              </a:lnSpc>
              <a:buFontTx/>
              <a:buNone/>
            </a:pPr>
            <a:r>
              <a:rPr lang="en-US" dirty="0"/>
              <a:t>Impact</a:t>
            </a:r>
          </a:p>
        </p:txBody>
      </p:sp>
      <p:sp>
        <p:nvSpPr>
          <p:cNvPr id="16" name="Content Placeholder 35"/>
          <p:cNvSpPr>
            <a:spLocks noGrp="1"/>
          </p:cNvSpPr>
          <p:nvPr>
            <p:ph sz="quarter" idx="16" hasCustomPrompt="1"/>
          </p:nvPr>
        </p:nvSpPr>
        <p:spPr>
          <a:xfrm>
            <a:off x="364069" y="5554133"/>
            <a:ext cx="3462866" cy="101599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20000"/>
              </a:lnSpc>
              <a:buNone/>
              <a:defRPr lang="en-US" sz="800" b="0" i="0" kern="1200" dirty="0" err="1" smtClean="0">
                <a:solidFill>
                  <a:schemeClr val="bg1"/>
                </a:solidFill>
                <a:latin typeface="Frutiger Next Pro Light"/>
                <a:ea typeface="+mn-ea"/>
                <a:cs typeface="Frutiger Next Pro Light"/>
              </a:defRPr>
            </a:lvl1pPr>
          </a:lstStyle>
          <a:p>
            <a:r>
              <a:rPr lang="en-US" dirty="0"/>
              <a:t>Content goes here.. pharetra </a:t>
            </a:r>
            <a:r>
              <a:rPr lang="en-US" dirty="0" err="1"/>
              <a:t>vel</a:t>
            </a:r>
            <a:r>
              <a:rPr lang="en-US" dirty="0"/>
              <a:t> ligula id,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convallis </a:t>
            </a:r>
            <a:r>
              <a:rPr lang="en-US" dirty="0" err="1"/>
              <a:t>rhonc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etus</a:t>
            </a:r>
            <a:r>
              <a:rPr lang="en-US" dirty="0"/>
              <a:t> ac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et,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ipsum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dapibu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gravida id,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et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gravida </a:t>
            </a:r>
            <a:r>
              <a:rPr lang="en-US" dirty="0" err="1"/>
              <a:t>eu</a:t>
            </a:r>
            <a:r>
              <a:rPr lang="en-US" dirty="0"/>
              <a:t> at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quam nisi, et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id. Integer pharetra </a:t>
            </a:r>
            <a:r>
              <a:rPr lang="en-US" dirty="0" err="1"/>
              <a:t>tortor</a:t>
            </a:r>
            <a:r>
              <a:rPr lang="en-US" dirty="0"/>
              <a:t> et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. 0</a:t>
            </a:r>
          </a:p>
        </p:txBody>
      </p:sp>
    </p:spTree>
    <p:extLst>
      <p:ext uri="{BB962C8B-B14F-4D97-AF65-F5344CB8AC3E}">
        <p14:creationId xmlns:p14="http://schemas.microsoft.com/office/powerpoint/2010/main" val="1017737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49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1431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493" y="237938"/>
            <a:ext cx="11071907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493" y="1698438"/>
            <a:ext cx="11071907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687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800" b="1" kern="1200" cap="all" spc="50" baseline="0">
          <a:solidFill>
            <a:schemeClr val="tx2"/>
          </a:solidFill>
          <a:latin typeface="+mj-lt"/>
          <a:ea typeface="+mj-ea"/>
          <a:cs typeface="Aharoni" panose="02010803020104030203" pitchFamily="2" charset="-79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90699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493" y="237938"/>
            <a:ext cx="11071907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493" y="1698438"/>
            <a:ext cx="11071907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7"/>
          <p:cNvSpPr txBox="1">
            <a:spLocks/>
          </p:cNvSpPr>
          <p:nvPr userDrawn="1"/>
        </p:nvSpPr>
        <p:spPr>
          <a:xfrm>
            <a:off x="684250" y="6408000"/>
            <a:ext cx="81900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demy_Agile</a:t>
            </a:r>
            <a:r>
              <a:rPr lang="en-US" dirty="0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Beginners-Guide</a:t>
            </a:r>
          </a:p>
        </p:txBody>
      </p:sp>
      <p:sp>
        <p:nvSpPr>
          <p:cNvPr id="9" name="Foliennummernplatzhalter 8"/>
          <p:cNvSpPr txBox="1">
            <a:spLocks/>
          </p:cNvSpPr>
          <p:nvPr userDrawn="1"/>
        </p:nvSpPr>
        <p:spPr>
          <a:xfrm>
            <a:off x="10518839" y="6408000"/>
            <a:ext cx="8568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336A7BF-F248-480F-AF69-39DB9AD03DF2}" type="slidenum">
              <a:rPr lang="en-US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Nr.›</a:t>
            </a:fld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72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55" r:id="rId3"/>
    <p:sldLayoutId id="2147483747" r:id="rId4"/>
    <p:sldLayoutId id="2147483748" r:id="rId5"/>
    <p:sldLayoutId id="2147483749" r:id="rId6"/>
    <p:sldLayoutId id="2147483750" r:id="rId7"/>
    <p:sldLayoutId id="2147483827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800" b="1" kern="1200" cap="all" spc="50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2192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493" y="237938"/>
            <a:ext cx="11071907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493" y="1698438"/>
            <a:ext cx="11071907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7"/>
          <p:cNvSpPr txBox="1">
            <a:spLocks/>
          </p:cNvSpPr>
          <p:nvPr userDrawn="1"/>
        </p:nvSpPr>
        <p:spPr>
          <a:xfrm>
            <a:off x="684250" y="6408000"/>
            <a:ext cx="81900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demy_Agile</a:t>
            </a:r>
            <a:r>
              <a:rPr lang="en-US" dirty="0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Beginners-Guide</a:t>
            </a:r>
          </a:p>
        </p:txBody>
      </p:sp>
      <p:sp>
        <p:nvSpPr>
          <p:cNvPr id="9" name="Foliennummernplatzhalter 8"/>
          <p:cNvSpPr txBox="1">
            <a:spLocks/>
          </p:cNvSpPr>
          <p:nvPr userDrawn="1"/>
        </p:nvSpPr>
        <p:spPr>
          <a:xfrm>
            <a:off x="10518839" y="6408000"/>
            <a:ext cx="8568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336A7BF-F248-480F-AF69-39DB9AD03DF2}" type="slidenum">
              <a:rPr lang="en-US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Nr.›</a:t>
            </a:fld>
            <a:endParaRPr lang="en-US" dirty="0">
              <a:solidFill>
                <a:srgbClr val="5C5C5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5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800" b="1" kern="1200" cap="all" spc="50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002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  <p:sldLayoutId id="2147483862" r:id="rId20"/>
    <p:sldLayoutId id="2147483863" r:id="rId21"/>
    <p:sldLayoutId id="2147483864" r:id="rId22"/>
    <p:sldLayoutId id="2147483865" r:id="rId23"/>
    <p:sldLayoutId id="2147483866" r:id="rId24"/>
    <p:sldLayoutId id="2147483867" r:id="rId25"/>
    <p:sldLayoutId id="2147483868" r:id="rId26"/>
    <p:sldLayoutId id="2147483869" r:id="rId2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493" y="237938"/>
            <a:ext cx="11071907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493" y="1698438"/>
            <a:ext cx="11071907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7"/>
          <p:cNvSpPr txBox="1">
            <a:spLocks/>
          </p:cNvSpPr>
          <p:nvPr userDrawn="1"/>
        </p:nvSpPr>
        <p:spPr>
          <a:xfrm>
            <a:off x="684250" y="6408000"/>
            <a:ext cx="81900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demy_Agile</a:t>
            </a:r>
            <a:r>
              <a:rPr lang="en-US" dirty="0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Beginners-Guide</a:t>
            </a:r>
          </a:p>
        </p:txBody>
      </p:sp>
      <p:sp>
        <p:nvSpPr>
          <p:cNvPr id="9" name="Foliennummernplatzhalter 8"/>
          <p:cNvSpPr txBox="1">
            <a:spLocks/>
          </p:cNvSpPr>
          <p:nvPr userDrawn="1"/>
        </p:nvSpPr>
        <p:spPr>
          <a:xfrm>
            <a:off x="10518839" y="6408000"/>
            <a:ext cx="856800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lang="de-DE" sz="7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336A7BF-F248-480F-AF69-39DB9AD03DF2}" type="slidenum">
              <a:rPr lang="en-US">
                <a:solidFill>
                  <a:srgbClr val="5C5C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Nr.›</a:t>
            </a:fld>
            <a:endParaRPr lang="en-US" dirty="0">
              <a:solidFill>
                <a:srgbClr val="5C5C5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715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800" b="1" kern="1200" cap="all" spc="50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8" name="Bildplatzhalter 7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- Erläuterung</a:t>
            </a:r>
          </a:p>
        </p:txBody>
      </p:sp>
      <p:sp>
        <p:nvSpPr>
          <p:cNvPr id="7" name="Rectangle 94"/>
          <p:cNvSpPr/>
          <p:nvPr/>
        </p:nvSpPr>
        <p:spPr>
          <a:xfrm>
            <a:off x="475465" y="990106"/>
            <a:ext cx="77668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(Body)"/>
              </a:rPr>
              <a:t>Burndown Charts sind ein gutes Instrument um innerhalb agiler Projekte den Fortschritt zu messen, bzw. den Anteil noch offener Arbeiten bis zum Sprintende, oder einem Release aufzuzeigen</a:t>
            </a:r>
          </a:p>
        </p:txBody>
      </p:sp>
      <p:sp>
        <p:nvSpPr>
          <p:cNvPr id="10" name="Rectangle 105"/>
          <p:cNvSpPr/>
          <p:nvPr/>
        </p:nvSpPr>
        <p:spPr>
          <a:xfrm flipH="1">
            <a:off x="552103" y="2238126"/>
            <a:ext cx="3542527" cy="4263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chemeClr val="tx1"/>
                </a:solidFill>
              </a:rPr>
              <a:t>Die Y-Achse zeigt die Anzahl der (verbleibenden) Story Points für den aktuellen Spr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33" name="Rechteckige Legende 32"/>
          <p:cNvSpPr/>
          <p:nvPr/>
        </p:nvSpPr>
        <p:spPr>
          <a:xfrm>
            <a:off x="553865" y="1715585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Beschreibung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5896456" y="3159728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6" name="Freihandform 5"/>
          <p:cNvSpPr/>
          <p:nvPr/>
        </p:nvSpPr>
        <p:spPr>
          <a:xfrm>
            <a:off x="4754880" y="2403566"/>
            <a:ext cx="3117669" cy="3570514"/>
          </a:xfrm>
          <a:custGeom>
            <a:avLst/>
            <a:gdLst>
              <a:gd name="connsiteX0" fmla="*/ 0 w 3117669"/>
              <a:gd name="connsiteY0" fmla="*/ 0 h 3570514"/>
              <a:gd name="connsiteX1" fmla="*/ 618308 w 3117669"/>
              <a:gd name="connsiteY1" fmla="*/ 618308 h 3570514"/>
              <a:gd name="connsiteX2" fmla="*/ 1149531 w 3117669"/>
              <a:gd name="connsiteY2" fmla="*/ 1828800 h 3570514"/>
              <a:gd name="connsiteX3" fmla="*/ 2055223 w 3117669"/>
              <a:gd name="connsiteY3" fmla="*/ 2185851 h 3570514"/>
              <a:gd name="connsiteX4" fmla="*/ 2281646 w 3117669"/>
              <a:gd name="connsiteY4" fmla="*/ 3274423 h 3570514"/>
              <a:gd name="connsiteX5" fmla="*/ 3117669 w 3117669"/>
              <a:gd name="connsiteY5" fmla="*/ 3570514 h 357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17669" h="3570514">
                <a:moveTo>
                  <a:pt x="0" y="0"/>
                </a:moveTo>
                <a:lnTo>
                  <a:pt x="618308" y="618308"/>
                </a:lnTo>
                <a:lnTo>
                  <a:pt x="1149531" y="1828800"/>
                </a:lnTo>
                <a:lnTo>
                  <a:pt x="2055223" y="2185851"/>
                </a:lnTo>
                <a:lnTo>
                  <a:pt x="2281646" y="3274423"/>
                </a:lnTo>
                <a:lnTo>
                  <a:pt x="3117669" y="3570514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552103" y="2744788"/>
            <a:ext cx="307488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Die X-Achse zeigt die Anzahl der Sprinttage an</a:t>
            </a:r>
          </a:p>
        </p:txBody>
      </p:sp>
      <p:sp>
        <p:nvSpPr>
          <p:cNvPr id="11" name="Rechteck 10"/>
          <p:cNvSpPr/>
          <p:nvPr/>
        </p:nvSpPr>
        <p:spPr>
          <a:xfrm>
            <a:off x="552103" y="3077747"/>
            <a:ext cx="3472536" cy="871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Der </a:t>
            </a:r>
            <a:r>
              <a:rPr lang="de-DE" sz="1013" b="1" dirty="0">
                <a:solidFill>
                  <a:srgbClr val="1AA4BE"/>
                </a:solidFill>
              </a:rPr>
              <a:t>idealtypische Verlauf </a:t>
            </a:r>
            <a:r>
              <a:rPr lang="de-DE" sz="1013" dirty="0">
                <a:solidFill>
                  <a:srgbClr val="262626"/>
                </a:solidFill>
              </a:rPr>
              <a:t>ist eine lineare Gerade, welche die Gesamtzahl der geplanten Story Points (20) durch die Anzahl der verfügbaren Sprinttage (10) teilt. Zum Sprintende sollte die Zahl der verbleibenden Story Points bei 0 liegen</a:t>
            </a:r>
          </a:p>
        </p:txBody>
      </p:sp>
      <p:sp>
        <p:nvSpPr>
          <p:cNvPr id="13" name="Rechteck 12"/>
          <p:cNvSpPr/>
          <p:nvPr/>
        </p:nvSpPr>
        <p:spPr>
          <a:xfrm>
            <a:off x="552103" y="4162111"/>
            <a:ext cx="3532973" cy="715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Der </a:t>
            </a:r>
            <a:r>
              <a:rPr lang="de-DE" sz="1013" b="1" dirty="0">
                <a:solidFill>
                  <a:srgbClr val="FF0000"/>
                </a:solidFill>
              </a:rPr>
              <a:t>tatsächliche Verlauf </a:t>
            </a:r>
            <a:r>
              <a:rPr lang="de-DE" sz="1013" dirty="0">
                <a:solidFill>
                  <a:srgbClr val="262626"/>
                </a:solidFill>
              </a:rPr>
              <a:t>ergibt sich aus täglichen Aktualisierungen des Sprint-Backlogs und zeigt den Fortschritt den das Entwicklungsteam bei der Abarbeitung von User Stories macht</a:t>
            </a:r>
          </a:p>
        </p:txBody>
      </p:sp>
      <p:sp>
        <p:nvSpPr>
          <p:cNvPr id="16" name="Rechteck 15"/>
          <p:cNvSpPr/>
          <p:nvPr/>
        </p:nvSpPr>
        <p:spPr>
          <a:xfrm>
            <a:off x="552103" y="4932057"/>
            <a:ext cx="3520968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Viele Tools verfügen über eine automatische Berechnung, andernfalls reicht hierfür auch Excel aus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552103" y="5410393"/>
            <a:ext cx="3518133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Burndown-Charts sollten täglich aktualisiert werden und können Probleme sichtbar machen</a:t>
            </a:r>
          </a:p>
        </p:txBody>
      </p:sp>
      <p:sp>
        <p:nvSpPr>
          <p:cNvPr id="20" name="Rechteck 19"/>
          <p:cNvSpPr/>
          <p:nvPr/>
        </p:nvSpPr>
        <p:spPr>
          <a:xfrm>
            <a:off x="552103" y="5988504"/>
            <a:ext cx="3589684" cy="559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013" dirty="0">
                <a:solidFill>
                  <a:srgbClr val="262626"/>
                </a:solidFill>
              </a:rPr>
              <a:t>Häufig zeigen Burndown Charts in den ersten Tagen wenig Fortschritt, da nur abgeschlossene User Stories berücksichtigt werden sollten</a:t>
            </a:r>
            <a:endParaRPr lang="de-DE" sz="1013" dirty="0">
              <a:solidFill>
                <a:srgbClr val="1AA4B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031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8" name="Bildplatzhalter 7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richtig lesen (1)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5896456" y="3159728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16" name="Rectangle 105"/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Beschreibe hier zunächst was Du siehst, bevor Du eine Interpretation beginnst</a:t>
            </a:r>
          </a:p>
        </p:txBody>
      </p:sp>
      <p:sp>
        <p:nvSpPr>
          <p:cNvPr id="17" name="Rechteckige Legende 16"/>
          <p:cNvSpPr/>
          <p:nvPr/>
        </p:nvSpPr>
        <p:spPr>
          <a:xfrm>
            <a:off x="545401" y="171034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zeigt der Graph?</a:t>
            </a:r>
          </a:p>
        </p:txBody>
      </p:sp>
      <p:sp>
        <p:nvSpPr>
          <p:cNvPr id="18" name="Rectangle 105"/>
          <p:cNvSpPr/>
          <p:nvPr/>
        </p:nvSpPr>
        <p:spPr>
          <a:xfrm flipH="1">
            <a:off x="545401" y="48291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Versuche hier das Burndown-Chart zu interpre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Welche Situation könnte zu diesem Verlauf geführt haben?</a:t>
            </a:r>
          </a:p>
        </p:txBody>
      </p:sp>
      <p:sp>
        <p:nvSpPr>
          <p:cNvPr id="19" name="Rechteckige Legende 18"/>
          <p:cNvSpPr/>
          <p:nvPr/>
        </p:nvSpPr>
        <p:spPr>
          <a:xfrm>
            <a:off x="545407" y="442093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bedeutet dies?</a:t>
            </a:r>
          </a:p>
        </p:txBody>
      </p:sp>
      <p:sp>
        <p:nvSpPr>
          <p:cNvPr id="6" name="Freihandform 5"/>
          <p:cNvSpPr/>
          <p:nvPr/>
        </p:nvSpPr>
        <p:spPr>
          <a:xfrm>
            <a:off x="4743450" y="2400300"/>
            <a:ext cx="3067050" cy="3914775"/>
          </a:xfrm>
          <a:custGeom>
            <a:avLst/>
            <a:gdLst>
              <a:gd name="connsiteX0" fmla="*/ 0 w 3067050"/>
              <a:gd name="connsiteY0" fmla="*/ 0 h 3914775"/>
              <a:gd name="connsiteX1" fmla="*/ 752475 w 3067050"/>
              <a:gd name="connsiteY1" fmla="*/ 561975 h 3914775"/>
              <a:gd name="connsiteX2" fmla="*/ 904875 w 3067050"/>
              <a:gd name="connsiteY2" fmla="*/ 1590675 h 3914775"/>
              <a:gd name="connsiteX3" fmla="*/ 1685925 w 3067050"/>
              <a:gd name="connsiteY3" fmla="*/ 1876425 h 3914775"/>
              <a:gd name="connsiteX4" fmla="*/ 1962150 w 3067050"/>
              <a:gd name="connsiteY4" fmla="*/ 2752725 h 3914775"/>
              <a:gd name="connsiteX5" fmla="*/ 2305050 w 3067050"/>
              <a:gd name="connsiteY5" fmla="*/ 2971800 h 3914775"/>
              <a:gd name="connsiteX6" fmla="*/ 2495550 w 3067050"/>
              <a:gd name="connsiteY6" fmla="*/ 3295650 h 3914775"/>
              <a:gd name="connsiteX7" fmla="*/ 2752725 w 3067050"/>
              <a:gd name="connsiteY7" fmla="*/ 3810000 h 3914775"/>
              <a:gd name="connsiteX8" fmla="*/ 3067050 w 3067050"/>
              <a:gd name="connsiteY8" fmla="*/ 3914775 h 3914775"/>
              <a:gd name="connsiteX9" fmla="*/ 3067050 w 3067050"/>
              <a:gd name="connsiteY9" fmla="*/ 3914775 h 391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67050" h="3914775">
                <a:moveTo>
                  <a:pt x="0" y="0"/>
                </a:moveTo>
                <a:lnTo>
                  <a:pt x="752475" y="561975"/>
                </a:lnTo>
                <a:lnTo>
                  <a:pt x="904875" y="1590675"/>
                </a:lnTo>
                <a:lnTo>
                  <a:pt x="1685925" y="1876425"/>
                </a:lnTo>
                <a:lnTo>
                  <a:pt x="1962150" y="2752725"/>
                </a:lnTo>
                <a:lnTo>
                  <a:pt x="2305050" y="2971800"/>
                </a:lnTo>
                <a:lnTo>
                  <a:pt x="2495550" y="3295650"/>
                </a:lnTo>
                <a:lnTo>
                  <a:pt x="2752725" y="3810000"/>
                </a:lnTo>
                <a:lnTo>
                  <a:pt x="3067050" y="3914775"/>
                </a:lnTo>
                <a:lnTo>
                  <a:pt x="3067050" y="3914775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226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richtig lesen (2)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5896456" y="3159728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16" name="Rectangle 105"/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7" name="Rechteckige Legende 16"/>
          <p:cNvSpPr/>
          <p:nvPr/>
        </p:nvSpPr>
        <p:spPr>
          <a:xfrm>
            <a:off x="545401" y="171034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zeigt der Graph?</a:t>
            </a:r>
          </a:p>
        </p:txBody>
      </p:sp>
      <p:sp>
        <p:nvSpPr>
          <p:cNvPr id="18" name="Rectangle 105"/>
          <p:cNvSpPr/>
          <p:nvPr/>
        </p:nvSpPr>
        <p:spPr>
          <a:xfrm flipH="1">
            <a:off x="545401" y="49053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9" name="Rechteckige Legende 18"/>
          <p:cNvSpPr/>
          <p:nvPr/>
        </p:nvSpPr>
        <p:spPr>
          <a:xfrm>
            <a:off x="545407" y="442093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bedeutet dies?</a:t>
            </a:r>
          </a:p>
        </p:txBody>
      </p:sp>
      <p:sp>
        <p:nvSpPr>
          <p:cNvPr id="8" name="Freihandform 7"/>
          <p:cNvSpPr/>
          <p:nvPr/>
        </p:nvSpPr>
        <p:spPr>
          <a:xfrm>
            <a:off x="4724400" y="2381250"/>
            <a:ext cx="2466975" cy="3952875"/>
          </a:xfrm>
          <a:custGeom>
            <a:avLst/>
            <a:gdLst>
              <a:gd name="connsiteX0" fmla="*/ 0 w 2466975"/>
              <a:gd name="connsiteY0" fmla="*/ 0 h 3952875"/>
              <a:gd name="connsiteX1" fmla="*/ 704850 w 2466975"/>
              <a:gd name="connsiteY1" fmla="*/ 400050 h 3952875"/>
              <a:gd name="connsiteX2" fmla="*/ 866775 w 2466975"/>
              <a:gd name="connsiteY2" fmla="*/ 1685925 h 3952875"/>
              <a:gd name="connsiteX3" fmla="*/ 1504950 w 2466975"/>
              <a:gd name="connsiteY3" fmla="*/ 2314575 h 3952875"/>
              <a:gd name="connsiteX4" fmla="*/ 1771650 w 2466975"/>
              <a:gd name="connsiteY4" fmla="*/ 3009900 h 3952875"/>
              <a:gd name="connsiteX5" fmla="*/ 2028825 w 2466975"/>
              <a:gd name="connsiteY5" fmla="*/ 3733800 h 3952875"/>
              <a:gd name="connsiteX6" fmla="*/ 2466975 w 2466975"/>
              <a:gd name="connsiteY6" fmla="*/ 3952875 h 3952875"/>
              <a:gd name="connsiteX7" fmla="*/ 2466975 w 2466975"/>
              <a:gd name="connsiteY7" fmla="*/ 3952875 h 395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66975" h="3952875">
                <a:moveTo>
                  <a:pt x="0" y="0"/>
                </a:moveTo>
                <a:lnTo>
                  <a:pt x="704850" y="400050"/>
                </a:lnTo>
                <a:lnTo>
                  <a:pt x="866775" y="1685925"/>
                </a:lnTo>
                <a:lnTo>
                  <a:pt x="1504950" y="2314575"/>
                </a:lnTo>
                <a:lnTo>
                  <a:pt x="1771650" y="3009900"/>
                </a:lnTo>
                <a:lnTo>
                  <a:pt x="2028825" y="3733800"/>
                </a:lnTo>
                <a:lnTo>
                  <a:pt x="2466975" y="3952875"/>
                </a:lnTo>
                <a:lnTo>
                  <a:pt x="2466975" y="3952875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tangle 105">
            <a:extLst>
              <a:ext uri="{FF2B5EF4-FFF2-40B4-BE49-F238E27FC236}">
                <a16:creationId xmlns:a16="http://schemas.microsoft.com/office/drawing/2014/main" id="{AFAB0339-8829-405A-B92A-B5EE2139542D}"/>
              </a:ext>
            </a:extLst>
          </p:cNvPr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Beschreibe hier zunächst was Du siehst, bevor Du eine Interpretation beginnst</a:t>
            </a:r>
          </a:p>
        </p:txBody>
      </p:sp>
      <p:sp>
        <p:nvSpPr>
          <p:cNvPr id="4" name="Rectangle 105">
            <a:extLst>
              <a:ext uri="{FF2B5EF4-FFF2-40B4-BE49-F238E27FC236}">
                <a16:creationId xmlns:a16="http://schemas.microsoft.com/office/drawing/2014/main" id="{6C09575C-3E97-42A0-8D89-30A9207B9C16}"/>
              </a:ext>
            </a:extLst>
          </p:cNvPr>
          <p:cNvSpPr/>
          <p:nvPr/>
        </p:nvSpPr>
        <p:spPr>
          <a:xfrm flipH="1">
            <a:off x="545401" y="48291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Versuche hier das Burndown-Chart zu interpre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Welche Situation könnte zu diesem Verlauf geführt haben?</a:t>
            </a:r>
          </a:p>
        </p:txBody>
      </p:sp>
    </p:spTree>
    <p:extLst>
      <p:ext uri="{BB962C8B-B14F-4D97-AF65-F5344CB8AC3E}">
        <p14:creationId xmlns:p14="http://schemas.microsoft.com/office/powerpoint/2010/main" val="2420954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richtig lesen (3)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5896456" y="3159728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16" name="Rectangle 105"/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7" name="Rechteckige Legende 16"/>
          <p:cNvSpPr/>
          <p:nvPr/>
        </p:nvSpPr>
        <p:spPr>
          <a:xfrm>
            <a:off x="545401" y="171034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zeigt der Graph?</a:t>
            </a:r>
          </a:p>
        </p:txBody>
      </p:sp>
      <p:sp>
        <p:nvSpPr>
          <p:cNvPr id="18" name="Rectangle 105"/>
          <p:cNvSpPr/>
          <p:nvPr/>
        </p:nvSpPr>
        <p:spPr>
          <a:xfrm flipH="1">
            <a:off x="545401" y="49053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9" name="Rechteckige Legende 18"/>
          <p:cNvSpPr/>
          <p:nvPr/>
        </p:nvSpPr>
        <p:spPr>
          <a:xfrm>
            <a:off x="545407" y="442093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bedeutet dies?</a:t>
            </a:r>
          </a:p>
        </p:txBody>
      </p:sp>
      <p:sp>
        <p:nvSpPr>
          <p:cNvPr id="8" name="Freihandform 7"/>
          <p:cNvSpPr/>
          <p:nvPr/>
        </p:nvSpPr>
        <p:spPr>
          <a:xfrm>
            <a:off x="4724400" y="2409825"/>
            <a:ext cx="3095625" cy="3876675"/>
          </a:xfrm>
          <a:custGeom>
            <a:avLst/>
            <a:gdLst>
              <a:gd name="connsiteX0" fmla="*/ 0 w 3095625"/>
              <a:gd name="connsiteY0" fmla="*/ 0 h 3876675"/>
              <a:gd name="connsiteX1" fmla="*/ 2314575 w 3095625"/>
              <a:gd name="connsiteY1" fmla="*/ 0 h 3876675"/>
              <a:gd name="connsiteX2" fmla="*/ 2314575 w 3095625"/>
              <a:gd name="connsiteY2" fmla="*/ 2438400 h 3876675"/>
              <a:gd name="connsiteX3" fmla="*/ 3095625 w 3095625"/>
              <a:gd name="connsiteY3" fmla="*/ 2447925 h 3876675"/>
              <a:gd name="connsiteX4" fmla="*/ 3095625 w 3095625"/>
              <a:gd name="connsiteY4" fmla="*/ 3876675 h 3876675"/>
              <a:gd name="connsiteX5" fmla="*/ 3095625 w 3095625"/>
              <a:gd name="connsiteY5" fmla="*/ 3876675 h 387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95625" h="3876675">
                <a:moveTo>
                  <a:pt x="0" y="0"/>
                </a:moveTo>
                <a:lnTo>
                  <a:pt x="2314575" y="0"/>
                </a:lnTo>
                <a:lnTo>
                  <a:pt x="2314575" y="2438400"/>
                </a:lnTo>
                <a:lnTo>
                  <a:pt x="3095625" y="2447925"/>
                </a:lnTo>
                <a:lnTo>
                  <a:pt x="3095625" y="3876675"/>
                </a:lnTo>
                <a:lnTo>
                  <a:pt x="3095625" y="3876675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tangle 105">
            <a:extLst>
              <a:ext uri="{FF2B5EF4-FFF2-40B4-BE49-F238E27FC236}">
                <a16:creationId xmlns:a16="http://schemas.microsoft.com/office/drawing/2014/main" id="{C1BD15CF-2754-489E-A119-74E33BDA40DF}"/>
              </a:ext>
            </a:extLst>
          </p:cNvPr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Beschreibe hier zunächst was Du siehst, bevor Du eine Interpretation beginnst</a:t>
            </a:r>
          </a:p>
        </p:txBody>
      </p:sp>
      <p:sp>
        <p:nvSpPr>
          <p:cNvPr id="4" name="Rectangle 105">
            <a:extLst>
              <a:ext uri="{FF2B5EF4-FFF2-40B4-BE49-F238E27FC236}">
                <a16:creationId xmlns:a16="http://schemas.microsoft.com/office/drawing/2014/main" id="{A61B2E56-B602-4D7B-8CAF-9EB3BB2C83B9}"/>
              </a:ext>
            </a:extLst>
          </p:cNvPr>
          <p:cNvSpPr/>
          <p:nvPr/>
        </p:nvSpPr>
        <p:spPr>
          <a:xfrm flipH="1">
            <a:off x="545401" y="48291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Versuche hier das Burndown-Chart zu interpre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Welche Situation könnte zu diesem Verlauf geführt haben?</a:t>
            </a:r>
          </a:p>
        </p:txBody>
      </p:sp>
    </p:spTree>
    <p:extLst>
      <p:ext uri="{BB962C8B-B14F-4D97-AF65-F5344CB8AC3E}">
        <p14:creationId xmlns:p14="http://schemas.microsoft.com/office/powerpoint/2010/main" val="4064238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richtig lesen (4)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5896456" y="3159728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16" name="Rectangle 105"/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7" name="Rechteckige Legende 16"/>
          <p:cNvSpPr/>
          <p:nvPr/>
        </p:nvSpPr>
        <p:spPr>
          <a:xfrm>
            <a:off x="545401" y="171034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zeigt der Graph?</a:t>
            </a:r>
          </a:p>
        </p:txBody>
      </p:sp>
      <p:sp>
        <p:nvSpPr>
          <p:cNvPr id="18" name="Rectangle 105"/>
          <p:cNvSpPr/>
          <p:nvPr/>
        </p:nvSpPr>
        <p:spPr>
          <a:xfrm flipH="1">
            <a:off x="545401" y="49053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9" name="Rechteckige Legende 18"/>
          <p:cNvSpPr/>
          <p:nvPr/>
        </p:nvSpPr>
        <p:spPr>
          <a:xfrm>
            <a:off x="545407" y="442093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bedeutet dies?</a:t>
            </a:r>
          </a:p>
        </p:txBody>
      </p:sp>
      <p:sp>
        <p:nvSpPr>
          <p:cNvPr id="8" name="Freihandform 7"/>
          <p:cNvSpPr/>
          <p:nvPr/>
        </p:nvSpPr>
        <p:spPr>
          <a:xfrm>
            <a:off x="4772025" y="2400300"/>
            <a:ext cx="3067050" cy="2514600"/>
          </a:xfrm>
          <a:custGeom>
            <a:avLst/>
            <a:gdLst>
              <a:gd name="connsiteX0" fmla="*/ 0 w 3067050"/>
              <a:gd name="connsiteY0" fmla="*/ 0 h 2514600"/>
              <a:gd name="connsiteX1" fmla="*/ 809625 w 3067050"/>
              <a:gd name="connsiteY1" fmla="*/ 342900 h 2514600"/>
              <a:gd name="connsiteX2" fmla="*/ 1209675 w 3067050"/>
              <a:gd name="connsiteY2" fmla="*/ 1133475 h 2514600"/>
              <a:gd name="connsiteX3" fmla="*/ 2047875 w 3067050"/>
              <a:gd name="connsiteY3" fmla="*/ 1247775 h 2514600"/>
              <a:gd name="connsiteX4" fmla="*/ 2209800 w 3067050"/>
              <a:gd name="connsiteY4" fmla="*/ 1704975 h 2514600"/>
              <a:gd name="connsiteX5" fmla="*/ 2762250 w 3067050"/>
              <a:gd name="connsiteY5" fmla="*/ 2381250 h 2514600"/>
              <a:gd name="connsiteX6" fmla="*/ 3067050 w 3067050"/>
              <a:gd name="connsiteY6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67050" h="2514600">
                <a:moveTo>
                  <a:pt x="0" y="0"/>
                </a:moveTo>
                <a:lnTo>
                  <a:pt x="809625" y="342900"/>
                </a:lnTo>
                <a:lnTo>
                  <a:pt x="1209675" y="1133475"/>
                </a:lnTo>
                <a:lnTo>
                  <a:pt x="2047875" y="1247775"/>
                </a:lnTo>
                <a:lnTo>
                  <a:pt x="2209800" y="1704975"/>
                </a:lnTo>
                <a:lnTo>
                  <a:pt x="2762250" y="2381250"/>
                </a:lnTo>
                <a:lnTo>
                  <a:pt x="3067050" y="2514600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tangle 105">
            <a:extLst>
              <a:ext uri="{FF2B5EF4-FFF2-40B4-BE49-F238E27FC236}">
                <a16:creationId xmlns:a16="http://schemas.microsoft.com/office/drawing/2014/main" id="{3EF13943-F354-43A5-887F-B1B06DDDA62F}"/>
              </a:ext>
            </a:extLst>
          </p:cNvPr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Beschreibe hier zunächst was Du siehst, bevor Du eine Interpretation beginnst</a:t>
            </a:r>
          </a:p>
        </p:txBody>
      </p:sp>
      <p:sp>
        <p:nvSpPr>
          <p:cNvPr id="4" name="Rectangle 105">
            <a:extLst>
              <a:ext uri="{FF2B5EF4-FFF2-40B4-BE49-F238E27FC236}">
                <a16:creationId xmlns:a16="http://schemas.microsoft.com/office/drawing/2014/main" id="{F2BFEB29-6B0D-406A-8E37-D12041A6F32A}"/>
              </a:ext>
            </a:extLst>
          </p:cNvPr>
          <p:cNvSpPr/>
          <p:nvPr/>
        </p:nvSpPr>
        <p:spPr>
          <a:xfrm flipH="1">
            <a:off x="545401" y="48291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Versuche hier das Burndown-Chart zu interpre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Welche Situation könnte zu diesem Verlauf geführt haben?</a:t>
            </a:r>
          </a:p>
        </p:txBody>
      </p:sp>
    </p:spTree>
    <p:extLst>
      <p:ext uri="{BB962C8B-B14F-4D97-AF65-F5344CB8AC3E}">
        <p14:creationId xmlns:p14="http://schemas.microsoft.com/office/powerpoint/2010/main" val="2242072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/>
          <p:nvPr/>
        </p:nvSpPr>
        <p:spPr>
          <a:xfrm>
            <a:off x="8242301" y="0"/>
            <a:ext cx="3949700" cy="685800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8" name="Bildplatzhalter 7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05838" y="0"/>
            <a:ext cx="3586162" cy="6858000"/>
          </a:xfrm>
        </p:spPr>
      </p:pic>
      <p:sp>
        <p:nvSpPr>
          <p:cNvPr id="5" name="Rectangle 5"/>
          <p:cNvSpPr/>
          <p:nvPr/>
        </p:nvSpPr>
        <p:spPr>
          <a:xfrm>
            <a:off x="418753" y="512478"/>
            <a:ext cx="7671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rndown-Charts richtig lesen (5)</a:t>
            </a:r>
          </a:p>
        </p:txBody>
      </p:sp>
      <p:graphicFrame>
        <p:nvGraphicFramePr>
          <p:cNvPr id="34" name="Chart 4"/>
          <p:cNvGraphicFramePr/>
          <p:nvPr>
            <p:extLst>
              <p:ext uri="{D42A27DB-BD31-4B8C-83A1-F6EECF244321}">
                <p14:modId xmlns:p14="http://schemas.microsoft.com/office/powerpoint/2010/main" val="2610270630"/>
              </p:ext>
            </p:extLst>
          </p:nvPr>
        </p:nvGraphicFramePr>
        <p:xfrm>
          <a:off x="4248788" y="2257177"/>
          <a:ext cx="3841112" cy="434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5264469" y="6521002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printtage</a:t>
            </a:r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 rot="16200000">
            <a:off x="3310358" y="4305891"/>
            <a:ext cx="1809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ory Points</a:t>
            </a:r>
            <a:endParaRPr lang="de-DE" dirty="0"/>
          </a:p>
        </p:txBody>
      </p:sp>
      <p:sp>
        <p:nvSpPr>
          <p:cNvPr id="43" name="Textfeld 42"/>
          <p:cNvSpPr txBox="1"/>
          <p:nvPr/>
        </p:nvSpPr>
        <p:spPr>
          <a:xfrm>
            <a:off x="5900574" y="5798153"/>
            <a:ext cx="15103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chemeClr val="accent3"/>
                </a:solidFill>
              </a:rPr>
              <a:t>Idealtypischer Verlauf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6380421" y="3647693"/>
            <a:ext cx="14750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>
                <a:solidFill>
                  <a:srgbClr val="FF0000"/>
                </a:solidFill>
              </a:rPr>
              <a:t>Tatsächlicher Verlauf</a:t>
            </a:r>
          </a:p>
        </p:txBody>
      </p:sp>
      <p:sp>
        <p:nvSpPr>
          <p:cNvPr id="16" name="Rectangle 105"/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7" name="Rechteckige Legende 16"/>
          <p:cNvSpPr/>
          <p:nvPr/>
        </p:nvSpPr>
        <p:spPr>
          <a:xfrm>
            <a:off x="545401" y="171034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zeigt der Graph?</a:t>
            </a:r>
          </a:p>
        </p:txBody>
      </p:sp>
      <p:sp>
        <p:nvSpPr>
          <p:cNvPr id="18" name="Rectangle 105"/>
          <p:cNvSpPr/>
          <p:nvPr/>
        </p:nvSpPr>
        <p:spPr>
          <a:xfrm flipH="1">
            <a:off x="545400" y="4905375"/>
            <a:ext cx="3542527" cy="1919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</p:txBody>
      </p:sp>
      <p:sp>
        <p:nvSpPr>
          <p:cNvPr id="19" name="Rechteckige Legende 18"/>
          <p:cNvSpPr/>
          <p:nvPr/>
        </p:nvSpPr>
        <p:spPr>
          <a:xfrm>
            <a:off x="545407" y="4420934"/>
            <a:ext cx="3542527" cy="398056"/>
          </a:xfrm>
          <a:prstGeom prst="wedgeRectCallout">
            <a:avLst>
              <a:gd name="adj1" fmla="val -20833"/>
              <a:gd name="adj2" fmla="val 1831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Was bedeutet dies?</a:t>
            </a:r>
          </a:p>
        </p:txBody>
      </p:sp>
      <p:sp>
        <p:nvSpPr>
          <p:cNvPr id="6" name="Freihandform 5"/>
          <p:cNvSpPr/>
          <p:nvPr/>
        </p:nvSpPr>
        <p:spPr>
          <a:xfrm>
            <a:off x="4724400" y="2619375"/>
            <a:ext cx="2190750" cy="1314450"/>
          </a:xfrm>
          <a:custGeom>
            <a:avLst/>
            <a:gdLst>
              <a:gd name="connsiteX0" fmla="*/ 0 w 2190750"/>
              <a:gd name="connsiteY0" fmla="*/ 438150 h 1314450"/>
              <a:gd name="connsiteX1" fmla="*/ 857250 w 2190750"/>
              <a:gd name="connsiteY1" fmla="*/ 847725 h 1314450"/>
              <a:gd name="connsiteX2" fmla="*/ 1428750 w 2190750"/>
              <a:gd name="connsiteY2" fmla="*/ 0 h 1314450"/>
              <a:gd name="connsiteX3" fmla="*/ 1857375 w 2190750"/>
              <a:gd name="connsiteY3" fmla="*/ 295275 h 1314450"/>
              <a:gd name="connsiteX4" fmla="*/ 2190750 w 2190750"/>
              <a:gd name="connsiteY4" fmla="*/ 1314450 h 1314450"/>
              <a:gd name="connsiteX5" fmla="*/ 2190750 w 2190750"/>
              <a:gd name="connsiteY5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90750" h="1314450">
                <a:moveTo>
                  <a:pt x="0" y="438150"/>
                </a:moveTo>
                <a:lnTo>
                  <a:pt x="857250" y="847725"/>
                </a:lnTo>
                <a:lnTo>
                  <a:pt x="1428750" y="0"/>
                </a:lnTo>
                <a:lnTo>
                  <a:pt x="1857375" y="295275"/>
                </a:lnTo>
                <a:lnTo>
                  <a:pt x="2190750" y="1314450"/>
                </a:lnTo>
                <a:lnTo>
                  <a:pt x="2190750" y="131445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>
            <a:off x="4724400" y="3038475"/>
            <a:ext cx="3086100" cy="3276600"/>
          </a:xfrm>
          <a:custGeom>
            <a:avLst/>
            <a:gdLst>
              <a:gd name="connsiteX0" fmla="*/ 0 w 3086100"/>
              <a:gd name="connsiteY0" fmla="*/ 0 h 3276600"/>
              <a:gd name="connsiteX1" fmla="*/ 323850 w 3086100"/>
              <a:gd name="connsiteY1" fmla="*/ 933450 h 3276600"/>
              <a:gd name="connsiteX2" fmla="*/ 828675 w 3086100"/>
              <a:gd name="connsiteY2" fmla="*/ 1609725 h 3276600"/>
              <a:gd name="connsiteX3" fmla="*/ 1171575 w 3086100"/>
              <a:gd name="connsiteY3" fmla="*/ 2085975 h 3276600"/>
              <a:gd name="connsiteX4" fmla="*/ 1876425 w 3086100"/>
              <a:gd name="connsiteY4" fmla="*/ 952500 h 3276600"/>
              <a:gd name="connsiteX5" fmla="*/ 2343150 w 3086100"/>
              <a:gd name="connsiteY5" fmla="*/ 1571625 h 3276600"/>
              <a:gd name="connsiteX6" fmla="*/ 2743200 w 3086100"/>
              <a:gd name="connsiteY6" fmla="*/ 2266950 h 3276600"/>
              <a:gd name="connsiteX7" fmla="*/ 2990850 w 3086100"/>
              <a:gd name="connsiteY7" fmla="*/ 2971800 h 3276600"/>
              <a:gd name="connsiteX8" fmla="*/ 3086100 w 3086100"/>
              <a:gd name="connsiteY8" fmla="*/ 327660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86100" h="3276600">
                <a:moveTo>
                  <a:pt x="0" y="0"/>
                </a:moveTo>
                <a:lnTo>
                  <a:pt x="323850" y="933450"/>
                </a:lnTo>
                <a:lnTo>
                  <a:pt x="828675" y="1609725"/>
                </a:lnTo>
                <a:lnTo>
                  <a:pt x="1171575" y="2085975"/>
                </a:lnTo>
                <a:lnTo>
                  <a:pt x="1876425" y="952500"/>
                </a:lnTo>
                <a:lnTo>
                  <a:pt x="2343150" y="1571625"/>
                </a:lnTo>
                <a:lnTo>
                  <a:pt x="2743200" y="2266950"/>
                </a:lnTo>
                <a:lnTo>
                  <a:pt x="2990850" y="2971800"/>
                </a:lnTo>
                <a:lnTo>
                  <a:pt x="3086100" y="3276600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tangle 105">
            <a:extLst>
              <a:ext uri="{FF2B5EF4-FFF2-40B4-BE49-F238E27FC236}">
                <a16:creationId xmlns:a16="http://schemas.microsoft.com/office/drawing/2014/main" id="{0A098367-6CA7-4154-A69D-6761B09D8D8C}"/>
              </a:ext>
            </a:extLst>
          </p:cNvPr>
          <p:cNvSpPr/>
          <p:nvPr/>
        </p:nvSpPr>
        <p:spPr>
          <a:xfrm flipH="1">
            <a:off x="545396" y="2194785"/>
            <a:ext cx="3542527" cy="2019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013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Beschreibe hier zunächst was Du siehst, bevor Du eine Interpretation beginnst</a:t>
            </a:r>
          </a:p>
        </p:txBody>
      </p:sp>
      <p:sp>
        <p:nvSpPr>
          <p:cNvPr id="4" name="Rectangle 105">
            <a:extLst>
              <a:ext uri="{FF2B5EF4-FFF2-40B4-BE49-F238E27FC236}">
                <a16:creationId xmlns:a16="http://schemas.microsoft.com/office/drawing/2014/main" id="{A3569A94-1402-4A04-8D1C-CE3F95E99AD2}"/>
              </a:ext>
            </a:extLst>
          </p:cNvPr>
          <p:cNvSpPr/>
          <p:nvPr/>
        </p:nvSpPr>
        <p:spPr>
          <a:xfrm flipH="1">
            <a:off x="545401" y="4829175"/>
            <a:ext cx="3542527" cy="16156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Versuche hier das Burndown-Chart zu interpretie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13" i="1" dirty="0">
                <a:solidFill>
                  <a:srgbClr val="FF0000"/>
                </a:solidFill>
              </a:rPr>
              <a:t>Welche Situation könnte zu diesem Verlauf geführt haben?</a:t>
            </a:r>
          </a:p>
        </p:txBody>
      </p:sp>
    </p:spTree>
    <p:extLst>
      <p:ext uri="{BB962C8B-B14F-4D97-AF65-F5344CB8AC3E}">
        <p14:creationId xmlns:p14="http://schemas.microsoft.com/office/powerpoint/2010/main" val="4235863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/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9Y5KIhwc_ORDqtRdU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Z1gDzQEGhbngx098I4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OFSiv5HBJ.DpOqiZ9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2hcMP6pe2JZOorBW0M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qw4FN6SEWh0qcm7HC_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D White Preferred 16x9">
  <a:themeElements>
    <a:clrScheme name="Custom 10">
      <a:dk1>
        <a:srgbClr val="5C5C5C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DCDCDC"/>
      </a:accent4>
      <a:accent5>
        <a:srgbClr val="81BC00"/>
      </a:accent5>
      <a:accent6>
        <a:srgbClr val="00A1DE"/>
      </a:accent6>
      <a:hlink>
        <a:srgbClr val="8CC249"/>
      </a:hlink>
      <a:folHlink>
        <a:srgbClr val="8CC249"/>
      </a:folHlink>
    </a:clrScheme>
    <a:fontScheme name="Custom 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alpha val="70000"/>
          </a:schemeClr>
        </a:solidFill>
        <a:ln w="19050" cmpd="sng">
          <a:solidFill>
            <a:schemeClr val="accent5"/>
          </a:solidFill>
        </a:ln>
      </a:spPr>
      <a:bodyPr rtlCol="0" anchor="ctr"/>
      <a:lstStyle>
        <a:defPPr algn="ctr">
          <a:defRPr dirty="0">
            <a:solidFill>
              <a:prstClr val="white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60502 Agile Beginner's Guide Structure V0.1.potx" id="{3DC0D2A7-5762-4625-BBE4-47561F0F36BC}" vid="{2EEAA585-00D5-40A4-8B89-AFF8F320CDAC}"/>
    </a:ext>
  </a:extLst>
</a:theme>
</file>

<file path=ppt/theme/theme2.xml><?xml version="1.0" encoding="utf-8"?>
<a:theme xmlns:a="http://schemas.openxmlformats.org/drawingml/2006/main" name="DD White Preferred 16x9">
  <a:themeElements>
    <a:clrScheme name="Custom 10">
      <a:dk1>
        <a:srgbClr val="5C5C5C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DCDCDC"/>
      </a:accent4>
      <a:accent5>
        <a:srgbClr val="81BC00"/>
      </a:accent5>
      <a:accent6>
        <a:srgbClr val="00A1DE"/>
      </a:accent6>
      <a:hlink>
        <a:srgbClr val="8CC249"/>
      </a:hlink>
      <a:folHlink>
        <a:srgbClr val="8CC249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alpha val="70000"/>
          </a:schemeClr>
        </a:solidFill>
        <a:ln w="19050" cmpd="sng">
          <a:solidFill>
            <a:schemeClr val="accent5"/>
          </a:solidFill>
        </a:ln>
      </a:spPr>
      <a:bodyPr rtlCol="0" anchor="ctr"/>
      <a:lstStyle>
        <a:defPPr algn="ctr">
          <a:defRPr dirty="0">
            <a:solidFill>
              <a:prstClr val="white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60502 Agile Beginner's Guide Structure V0.1.potx" id="{3DC0D2A7-5762-4625-BBE4-47561F0F36BC}" vid="{2EEAA585-00D5-40A4-8B89-AFF8F320CDAC}"/>
    </a:ext>
  </a:extLst>
</a:theme>
</file>

<file path=ppt/theme/theme3.xml><?xml version="1.0" encoding="utf-8"?>
<a:theme xmlns:a="http://schemas.openxmlformats.org/drawingml/2006/main" name="1_DD White Preferred 16x9">
  <a:themeElements>
    <a:clrScheme name="Custom 10">
      <a:dk1>
        <a:srgbClr val="5C5C5C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DCDCDC"/>
      </a:accent4>
      <a:accent5>
        <a:srgbClr val="81BC00"/>
      </a:accent5>
      <a:accent6>
        <a:srgbClr val="00A1DE"/>
      </a:accent6>
      <a:hlink>
        <a:srgbClr val="8CC249"/>
      </a:hlink>
      <a:folHlink>
        <a:srgbClr val="8CC249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alpha val="70000"/>
          </a:schemeClr>
        </a:solidFill>
        <a:ln w="19050" cmpd="sng">
          <a:solidFill>
            <a:schemeClr val="accent5"/>
          </a:solidFill>
        </a:ln>
      </a:spPr>
      <a:bodyPr rtlCol="0" anchor="ctr"/>
      <a:lstStyle>
        <a:defPPr algn="ctr">
          <a:defRPr dirty="0">
            <a:solidFill>
              <a:prstClr val="white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60502 Agile Beginner's Guide Structure V0.1.potx" id="{3DC0D2A7-5762-4625-BBE4-47561F0F36BC}" vid="{2EEAA585-00D5-40A4-8B89-AFF8F320CDAC}"/>
    </a:ext>
  </a:extLst>
</a:theme>
</file>

<file path=ppt/theme/theme4.xml><?xml version="1.0" encoding="utf-8"?>
<a:theme xmlns:a="http://schemas.openxmlformats.org/drawingml/2006/main" name="Office Theme">
  <a:themeElements>
    <a:clrScheme name="Theme 01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176490"/>
      </a:accent1>
      <a:accent2>
        <a:srgbClr val="0187AC"/>
      </a:accent2>
      <a:accent3>
        <a:srgbClr val="1AA4BE"/>
      </a:accent3>
      <a:accent4>
        <a:srgbClr val="52C3CB"/>
      </a:accent4>
      <a:accent5>
        <a:srgbClr val="42BDC6"/>
      </a:accent5>
      <a:accent6>
        <a:srgbClr val="168EA6"/>
      </a:accent6>
      <a:hlink>
        <a:srgbClr val="FFFFFF"/>
      </a:hlink>
      <a:folHlink>
        <a:srgbClr val="595959"/>
      </a:folHlink>
    </a:clrScheme>
    <a:fontScheme name="Custom 35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DD White Preferred 16x9">
  <a:themeElements>
    <a:clrScheme name="Custom 10">
      <a:dk1>
        <a:srgbClr val="5C5C5C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DCDCDC"/>
      </a:accent4>
      <a:accent5>
        <a:srgbClr val="81BC00"/>
      </a:accent5>
      <a:accent6>
        <a:srgbClr val="00A1DE"/>
      </a:accent6>
      <a:hlink>
        <a:srgbClr val="8CC249"/>
      </a:hlink>
      <a:folHlink>
        <a:srgbClr val="8CC249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alpha val="70000"/>
          </a:schemeClr>
        </a:solidFill>
        <a:ln w="19050" cmpd="sng">
          <a:solidFill>
            <a:schemeClr val="accent5"/>
          </a:solidFill>
        </a:ln>
      </a:spPr>
      <a:bodyPr rtlCol="0" anchor="ctr"/>
      <a:lstStyle>
        <a:defPPr algn="ctr">
          <a:defRPr dirty="0">
            <a:solidFill>
              <a:prstClr val="white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60502 Agile Beginner's Guide Structure V0.1.potx" id="{3DC0D2A7-5762-4625-BBE4-47561F0F36BC}" vid="{2EEAA585-00D5-40A4-8B89-AFF8F320CDA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Purpose xmlns="ba876303-58ad-40bf-8d69-3f2d5e43bf76">20160506_Agile_Beginner's Guide_v0.4</Document_x0020_Purpos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8E01948EB05542A3ACEB26119BA7BD" ma:contentTypeVersion="1" ma:contentTypeDescription="Create a new document." ma:contentTypeScope="" ma:versionID="6bf0a5fa5fdf3b68fa140fc0aefc5494">
  <xsd:schema xmlns:xsd="http://www.w3.org/2001/XMLSchema" xmlns:xs="http://www.w3.org/2001/XMLSchema" xmlns:p="http://schemas.microsoft.com/office/2006/metadata/properties" xmlns:ns2="ba876303-58ad-40bf-8d69-3f2d5e43bf76" targetNamespace="http://schemas.microsoft.com/office/2006/metadata/properties" ma:root="true" ma:fieldsID="6271649a07022a9861acc8bb6ec0089c" ns2:_="">
    <xsd:import namespace="ba876303-58ad-40bf-8d69-3f2d5e43bf76"/>
    <xsd:element name="properties">
      <xsd:complexType>
        <xsd:sequence>
          <xsd:element name="documentManagement">
            <xsd:complexType>
              <xsd:all>
                <xsd:element ref="ns2:Document_x0020_Purpos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876303-58ad-40bf-8d69-3f2d5e43bf76" elementFormDefault="qualified">
    <xsd:import namespace="http://schemas.microsoft.com/office/2006/documentManagement/types"/>
    <xsd:import namespace="http://schemas.microsoft.com/office/infopath/2007/PartnerControls"/>
    <xsd:element name="Document_x0020_Purpose" ma:index="8" nillable="true" ma:displayName="Document Purpose" ma:internalName="Document_x0020_Purpo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26D904-E7AB-4137-B4EF-CD97F48AF379}">
  <ds:schemaRefs>
    <ds:schemaRef ds:uri="http://schemas.microsoft.com/office/2006/documentManagement/types"/>
    <ds:schemaRef ds:uri="ba876303-58ad-40bf-8d69-3f2d5e43bf76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B48A28D-782D-4EA0-932E-97005572D9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876303-58ad-40bf-8d69-3f2d5e43bf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E92129-5417-4392-A3C4-479DE30A0E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60502 Agile Beginner's Guide Structure V0.1</Template>
  <TotalTime>0</TotalTime>
  <Words>420</Words>
  <Application>Microsoft Office PowerPoint</Application>
  <PresentationFormat>Breitbild</PresentationFormat>
  <Paragraphs>72</Paragraphs>
  <Slides>6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20" baseType="lpstr">
      <vt:lpstr>Arial</vt:lpstr>
      <vt:lpstr>Calibri</vt:lpstr>
      <vt:lpstr>Frutiger Next Pro Light</vt:lpstr>
      <vt:lpstr>Frutiger Next Pro Medium</vt:lpstr>
      <vt:lpstr>Knockout HTF27-JuniorBantamwt</vt:lpstr>
      <vt:lpstr>Roboto</vt:lpstr>
      <vt:lpstr>Roboto (Body)</vt:lpstr>
      <vt:lpstr>Verdana</vt:lpstr>
      <vt:lpstr>2_DD White Preferred 16x9</vt:lpstr>
      <vt:lpstr>DD White Preferred 16x9</vt:lpstr>
      <vt:lpstr>1_DD White Preferred 16x9</vt:lpstr>
      <vt:lpstr>Office Theme</vt:lpstr>
      <vt:lpstr>3_DD White Preferred 16x9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ile Beginner’s guide</dc:title>
  <dc:creator>Niels Rabe</dc:creator>
  <cp:lastModifiedBy>Harald Neuroth</cp:lastModifiedBy>
  <cp:revision>1989</cp:revision>
  <cp:lastPrinted>2016-01-13T12:05:49Z</cp:lastPrinted>
  <dcterms:created xsi:type="dcterms:W3CDTF">2016-05-06T10:03:25Z</dcterms:created>
  <dcterms:modified xsi:type="dcterms:W3CDTF">2021-08-15T14:1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8E01948EB05542A3ACEB26119BA7BD</vt:lpwstr>
  </property>
</Properties>
</file>